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1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BF5-4EAD-85CC-ACB5E6DDED2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F5-4EAD-85CC-ACB5E6DDED2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F5-4EAD-85CC-ACB5E6DDED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450015"/>
        <c:axId val="573459135"/>
      </c:lineChart>
      <c:catAx>
        <c:axId val="57345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135"/>
        <c:crosses val="autoZero"/>
        <c:auto val="1"/>
        <c:lblAlgn val="ctr"/>
        <c:lblOffset val="100"/>
        <c:noMultiLvlLbl val="0"/>
      </c:catAx>
      <c:valAx>
        <c:axId val="5734591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00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13-4D23-B8D6-64A93375C5A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13-4D23-B8D6-64A93375C5A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113-4D23-B8D6-64A93375C5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450015"/>
        <c:axId val="573459135"/>
      </c:lineChart>
      <c:catAx>
        <c:axId val="57345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135"/>
        <c:crosses val="autoZero"/>
        <c:auto val="1"/>
        <c:lblAlgn val="ctr"/>
        <c:lblOffset val="100"/>
        <c:noMultiLvlLbl val="0"/>
      </c:catAx>
      <c:valAx>
        <c:axId val="5734591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00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3842CC-7E7B-0D4F-3C9F-525CFCABFF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D9BCDD3-2906-6C6F-94A8-4E14291DA9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9BCDD3-2906-6C6F-94A8-4E14291DA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7B050A3D-2F50-6C92-398A-3CF994F04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Stacked Line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59F8CB4-66BC-674A-7973-6C9908C8D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0C8EF69-B942-9242-8979-76A6E8431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42C1032-A07B-E5CA-5554-A451042420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5E473414-9576-772F-1D90-C4FC9A34D8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7">
            <a:extLst>
              <a:ext uri="{FF2B5EF4-FFF2-40B4-BE49-F238E27FC236}">
                <a16:creationId xmlns:a16="http://schemas.microsoft.com/office/drawing/2014/main" id="{B770FBFC-D101-74EA-4824-E92EA41F5E7C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Placeholder 7">
            <a:extLst>
              <a:ext uri="{FF2B5EF4-FFF2-40B4-BE49-F238E27FC236}">
                <a16:creationId xmlns:a16="http://schemas.microsoft.com/office/drawing/2014/main" id="{3495997D-3EDA-A94D-E8AA-EDA6C774CAC3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42080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5</TotalTime>
  <Words>2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Stacked Line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19</cp:revision>
  <dcterms:created xsi:type="dcterms:W3CDTF">2025-07-09T10:57:17Z</dcterms:created>
  <dcterms:modified xsi:type="dcterms:W3CDTF">2025-10-22T10:00:27Z</dcterms:modified>
  <cp:category/>
</cp:coreProperties>
</file>